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55"/>
  </p:notesMasterIdLst>
  <p:sldIdLst>
    <p:sldId id="257" r:id="rId4"/>
    <p:sldId id="10400" r:id="rId5"/>
    <p:sldId id="957" r:id="rId6"/>
    <p:sldId id="958" r:id="rId7"/>
    <p:sldId id="959" r:id="rId8"/>
    <p:sldId id="10411" r:id="rId9"/>
    <p:sldId id="370" r:id="rId10"/>
    <p:sldId id="371" r:id="rId11"/>
    <p:sldId id="261" r:id="rId12"/>
    <p:sldId id="962"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46" r:id="rId211"/>
    <p:sldId id="10440" r:id="rId212"/>
    <p:sldId id="10441" r:id="rId213"/>
    <p:sldId id="10451" r:id="rId214"/>
    <p:sldId id="10431" r:id="rId215"/>
    <p:sldId id="10452" r:id="rId216"/>
    <p:sldId id="10453" r:id="rId217"/>
    <p:sldId id="10454" r:id="rId218"/>
    <p:sldId id="10455" r:id="rId219"/>
    <p:sldId id="10448" r:id="rId220"/>
    <p:sldId id="10449" r:id="rId221"/>
    <p:sldId id="10450" r:id="rId222"/>
    <p:sldId id="10459" r:id="rId223"/>
    <p:sldId id="10447" r:id="rId224"/>
    <p:sldId id="10406" r:id="rId225"/>
    <p:sldId id="10425" r:id="rId226"/>
    <p:sldId id="10426" r:id="rId227"/>
    <p:sldId id="10409" r:id="rId228"/>
    <p:sldId id="10421" r:id="rId229"/>
    <p:sldId id="10417" r:id="rId230"/>
    <p:sldId id="10408" r:id="rId231"/>
    <p:sldId id="10427" r:id="rId232"/>
    <p:sldId id="10435" r:id="rId233"/>
    <p:sldId id="10437" r:id="rId234"/>
    <p:sldId id="10436" r:id="rId235"/>
    <p:sldId id="10438" r:id="rId236"/>
    <p:sldId id="10439" r:id="rId237"/>
    <p:sldId id="10442" r:id="rId238"/>
    <p:sldId id="10443" r:id="rId239"/>
    <p:sldId id="10444" r:id="rId240"/>
    <p:sldId id="10445" r:id="rId241"/>
    <p:sldId id="10428" r:id="rId242"/>
    <p:sldId id="10429" r:id="rId243"/>
    <p:sldId id="10430" r:id="rId244"/>
    <p:sldId id="10422" r:id="rId245"/>
    <p:sldId id="10423" r:id="rId246"/>
    <p:sldId id="936" r:id="rId247"/>
    <p:sldId id="10418" r:id="rId248"/>
    <p:sldId id="822" r:id="rId249"/>
    <p:sldId id="810" r:id="rId250"/>
    <p:sldId id="10463" r:id="rId251"/>
    <p:sldId id="10420" r:id="rId252"/>
    <p:sldId id="10464" r:id="rId253"/>
    <p:sldId id="296" r:id="rId2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11" autoAdjust="0"/>
    <p:restoredTop sz="74242" autoAdjust="0"/>
  </p:normalViewPr>
  <p:slideViewPr>
    <p:cSldViewPr snapToGrid="0">
      <p:cViewPr varScale="1">
        <p:scale>
          <a:sx n="85" d="100"/>
          <a:sy n="85" d="100"/>
        </p:scale>
        <p:origin x="60" y="216"/>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theme" Target="theme/theme1.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tableStyles" Target="tableStyles.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notesMaster" Target="notesMasters/notesMaster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presProps" Target="presProp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7/2019 5: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7/2019 5: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7/2019 5: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7/2019 5: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7/2019 5: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1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01.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01.sv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8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01.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1.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1.sv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10" Type="http://schemas.openxmlformats.org/officeDocument/2006/relationships/image" Target="../media/image208.png"/><Relationship Id="rId4" Type="http://schemas.openxmlformats.org/officeDocument/2006/relationships/hyperlink" Target="http://fleitasarts.com/" TargetMode="External"/><Relationship Id="rId9" Type="http://schemas.openxmlformats.org/officeDocument/2006/relationships/image" Target="../media/image207.png"/></Relationships>
</file>

<file path=ppt/slides/_rels/slide164.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1.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2.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3.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4.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5.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6.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7.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8.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9.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0.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1.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2.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24.png"/><Relationship Id="rId4" Type="http://schemas.openxmlformats.org/officeDocument/2006/relationships/image" Target="../media/image223.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1.png"/></Relationships>
</file>

<file path=ppt/slides/_rels/slide18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3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7.svg"/><Relationship Id="rId4" Type="http://schemas.openxmlformats.org/officeDocument/2006/relationships/image" Target="../media/image236.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01.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1.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01.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1.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1.sv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20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01.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1.sv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1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68.png"/><Relationship Id="rId7" Type="http://schemas.openxmlformats.org/officeDocument/2006/relationships/image" Target="../media/image100.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9.png"/></Relationships>
</file>

<file path=ppt/slides/_rels/slide216.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0.png"/><Relationship Id="rId7" Type="http://schemas.openxmlformats.org/officeDocument/2006/relationships/image" Target="../media/image100.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 Id="rId9" Type="http://schemas.openxmlformats.org/officeDocument/2006/relationships/image" Target="../media/image272.png"/></Relationships>
</file>

<file path=ppt/slides/_rels/slide217.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image" Target="../media/image273.png"/><Relationship Id="rId7" Type="http://schemas.openxmlformats.org/officeDocument/2006/relationships/image" Target="../media/image101.sv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5.png"/><Relationship Id="rId7" Type="http://schemas.openxmlformats.org/officeDocument/2006/relationships/image" Target="../media/image100.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s>
</file>

<file path=ppt/slides/_rels/slide21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7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22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03.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3.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image" Target="../media/image305.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236.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3.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7.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4.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5.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5.png"/></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14.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01.sv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1</TotalTime>
  <Words>10848</Words>
  <Application>Microsoft Office PowerPoint</Application>
  <PresentationFormat>Widescreen</PresentationFormat>
  <Paragraphs>1260</Paragraphs>
  <Slides>251</Slides>
  <Notes>238</Notes>
  <HiddenSlides>8</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51</vt:i4>
      </vt:variant>
    </vt:vector>
  </HeadingPairs>
  <TitlesOfParts>
    <vt:vector size="269"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91</cp:revision>
  <dcterms:created xsi:type="dcterms:W3CDTF">2019-05-23T20:01:45Z</dcterms:created>
  <dcterms:modified xsi:type="dcterms:W3CDTF">2019-05-27T23:04:5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